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525" r:id="rId2"/>
    <p:sldId id="559" r:id="rId3"/>
    <p:sldId id="558" r:id="rId4"/>
    <p:sldId id="555" r:id="rId5"/>
    <p:sldId id="552" r:id="rId6"/>
    <p:sldId id="553" r:id="rId7"/>
    <p:sldId id="560" r:id="rId8"/>
    <p:sldId id="561" r:id="rId9"/>
    <p:sldId id="556" r:id="rId10"/>
    <p:sldId id="563" r:id="rId11"/>
    <p:sldId id="554" r:id="rId12"/>
    <p:sldId id="564" r:id="rId13"/>
    <p:sldId id="562" r:id="rId14"/>
  </p:sldIdLst>
  <p:sldSz cx="9144000" cy="5143500" type="screen16x9"/>
  <p:notesSz cx="6797675" cy="9872663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675E"/>
    <a:srgbClr val="25282B"/>
    <a:srgbClr val="820000"/>
    <a:srgbClr val="00B0CA"/>
    <a:srgbClr val="5E2750"/>
    <a:srgbClr val="EB9700"/>
    <a:srgbClr val="FECB00"/>
    <a:srgbClr val="A8B400"/>
    <a:srgbClr val="007C92"/>
    <a:srgbClr val="9C2A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1075" autoAdjust="0"/>
  </p:normalViewPr>
  <p:slideViewPr>
    <p:cSldViewPr snapToGrid="0" snapToObjects="1" showGuides="1">
      <p:cViewPr varScale="1">
        <p:scale>
          <a:sx n="90" d="100"/>
          <a:sy n="90" d="100"/>
        </p:scale>
        <p:origin x="618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5" d="100"/>
        <a:sy n="65" d="100"/>
      </p:scale>
      <p:origin x="0" y="0"/>
    </p:cViewPr>
  </p:sorterViewPr>
  <p:notesViewPr>
    <p:cSldViewPr snapToGrid="0" showGuides="1">
      <p:cViewPr varScale="1">
        <p:scale>
          <a:sx n="75" d="100"/>
          <a:sy n="75" d="100"/>
        </p:scale>
        <p:origin x="2448" y="72"/>
      </p:cViewPr>
      <p:guideLst>
        <p:guide orient="horz" pos="311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Vodafone Rg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584B7D-F332-42E4-B349-DEDC589F1ADB}" type="datetimeFigureOut">
              <a:rPr lang="en-GB" smtClean="0">
                <a:latin typeface="Vodafone Rg" pitchFamily="34" charset="0"/>
              </a:rPr>
              <a:pPr/>
              <a:t>22/01/2022</a:t>
            </a:fld>
            <a:endParaRPr lang="en-GB" dirty="0">
              <a:latin typeface="Vodafone Rg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Vodafone Rg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7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1C1BE2-1563-4C9C-8E4A-C427D52BD2E1}" type="slidenum">
              <a:rPr lang="en-GB" smtClean="0">
                <a:latin typeface="Vodafone Rg" pitchFamily="34" charset="0"/>
              </a:rPr>
              <a:pPr/>
              <a:t>‹#›</a:t>
            </a:fld>
            <a:endParaRPr lang="en-GB" dirty="0"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07412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odafone Rg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Vodafone Rg" pitchFamily="34" charset="0"/>
              </a:defRPr>
            </a:lvl1pPr>
          </a:lstStyle>
          <a:p>
            <a:fld id="{53ACD7AC-7E6F-4F59-A8AC-F454A6DBBD3A}" type="datetimeFigureOut">
              <a:rPr lang="en-GB" smtClean="0"/>
              <a:pPr/>
              <a:t>22/01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6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9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odafone Rg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9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Vodafone Rg" pitchFamily="34" charset="0"/>
              </a:defRPr>
            </a:lvl1pPr>
          </a:lstStyle>
          <a:p>
            <a:fld id="{2B3E1866-6ABF-4414-AFB5-B91146A1FA1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8001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3E1866-6ABF-4414-AFB5-B91146A1FA19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038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0.xml"/><Relationship Id="rId7" Type="http://schemas.openxmlformats.org/officeDocument/2006/relationships/image" Target="../media/image13.jp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2.xml"/><Relationship Id="rId7" Type="http://schemas.openxmlformats.org/officeDocument/2006/relationships/image" Target="../media/image14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4.xml"/><Relationship Id="rId7" Type="http://schemas.openxmlformats.org/officeDocument/2006/relationships/image" Target="../media/image15.jp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6.xml"/><Relationship Id="rId7" Type="http://schemas.openxmlformats.org/officeDocument/2006/relationships/image" Target="../media/image16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8.xml"/><Relationship Id="rId7" Type="http://schemas.openxmlformats.org/officeDocument/2006/relationships/image" Target="../media/image17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0.xml"/><Relationship Id="rId7" Type="http://schemas.openxmlformats.org/officeDocument/2006/relationships/image" Target="../media/image18.jp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2.xml"/><Relationship Id="rId7" Type="http://schemas.openxmlformats.org/officeDocument/2006/relationships/image" Target="../media/image19.jp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4.xml"/><Relationship Id="rId7" Type="http://schemas.openxmlformats.org/officeDocument/2006/relationships/image" Target="../media/image21.jp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6.xml"/><Relationship Id="rId7" Type="http://schemas.openxmlformats.org/officeDocument/2006/relationships/image" Target="../media/image22.jp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.xml"/><Relationship Id="rId7" Type="http://schemas.openxmlformats.org/officeDocument/2006/relationships/image" Target="../media/image5.jp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8.xml"/><Relationship Id="rId7" Type="http://schemas.openxmlformats.org/officeDocument/2006/relationships/image" Target="../media/image23.jp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0.xml"/><Relationship Id="rId7" Type="http://schemas.openxmlformats.org/officeDocument/2006/relationships/image" Target="../media/image24.jp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2.xml"/><Relationship Id="rId7" Type="http://schemas.openxmlformats.org/officeDocument/2006/relationships/image" Target="../media/image25.jp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4.xml"/><Relationship Id="rId7" Type="http://schemas.openxmlformats.org/officeDocument/2006/relationships/image" Target="../media/image26.jp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6.xml"/><Relationship Id="rId7" Type="http://schemas.openxmlformats.org/officeDocument/2006/relationships/image" Target="../media/image27.jpg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8.xml"/><Relationship Id="rId7" Type="http://schemas.openxmlformats.org/officeDocument/2006/relationships/image" Target="../media/image28.jp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0.xml"/><Relationship Id="rId7" Type="http://schemas.openxmlformats.org/officeDocument/2006/relationships/image" Target="../media/image29.jp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2.xml"/><Relationship Id="rId7" Type="http://schemas.openxmlformats.org/officeDocument/2006/relationships/image" Target="../media/image30.jp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.xml"/><Relationship Id="rId7" Type="http://schemas.openxmlformats.org/officeDocument/2006/relationships/image" Target="../media/image7.jp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.xml"/><Relationship Id="rId7" Type="http://schemas.openxmlformats.org/officeDocument/2006/relationships/image" Target="../media/image8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.xml"/><Relationship Id="rId7" Type="http://schemas.openxmlformats.org/officeDocument/2006/relationships/image" Target="../media/image9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.xml"/><Relationship Id="rId7" Type="http://schemas.openxmlformats.org/officeDocument/2006/relationships/image" Target="../media/image10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6.xml"/><Relationship Id="rId7" Type="http://schemas.openxmlformats.org/officeDocument/2006/relationships/image" Target="../media/image11.jp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2.jp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GRAD NUMBERED">
    <p:bg>
      <p:bgPr>
        <a:gradFill flip="none" rotWithShape="1">
          <a:gsLst>
            <a:gs pos="20000">
              <a:srgbClr val="820000"/>
            </a:gs>
            <a:gs pos="100000">
              <a:schemeClr val="accent1"/>
            </a:gs>
          </a:gsLst>
          <a:lin ang="19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184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uk-UA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038E09-3872-BD4D-8339-0283C2F5BB7F}" type="datetime4">
              <a:rPr lang="en-GB" smtClean="0"/>
              <a:t>22 January 2022</a:t>
            </a:fld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EFB84D48-DD07-8F41-8E87-B39CA8E093AD}"/>
              </a:ext>
            </a:extLst>
          </p:cNvPr>
          <p:cNvSpPr txBox="1"/>
          <p:nvPr userDrawn="1"/>
        </p:nvSpPr>
        <p:spPr>
          <a:xfrm>
            <a:off x="7785652" y="2749826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>
              <a:buFont typeface="Arial" pitchFamily="34" charset="0"/>
              <a:buNone/>
            </a:pPr>
            <a:endParaRPr lang="en-US" dirty="0">
              <a:latin typeface="Vodafone Rg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B34616-884A-6E49-AF27-39F21B262F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0825" y="284086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uk-UA" dirty="0" smtClean="0"/>
              <a:t>Образец заголовка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D14CCD6-B43D-824B-8056-E6DD2A9EB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0825" y="4088479"/>
            <a:ext cx="2087880" cy="682887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 smtClean="0"/>
          </a:p>
          <a:p>
            <a:endParaRPr lang="en-GB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7568AED-6119-CD42-A18C-C314B741360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448891" y="556591"/>
            <a:ext cx="4030317" cy="4030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21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0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8145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E01DFF-A743-4B46-98A7-7A4A1630CE8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2163462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04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1007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E01DFF-A743-4B46-98A7-7A4A1630CE8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3472238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0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520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E01DFF-A743-4B46-98A7-7A4A1630CE8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1904425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8_Title Slide Image 04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5086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2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6" name="Picture 5" descr="vodafone_PPT_BG_2.jpg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1654258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Title Slide Image 0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718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6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7" name="Picture 6" descr="vodafone_PPT_BG_5.jpg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571247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66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29464C-F365-4D4E-8D49-EE3149C162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3A24C7-5D61-6547-A9A0-D8782A3844F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619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3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848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29464C-F365-4D4E-8D49-EE3149C162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3164545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06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30AA00D-CBDA-4847-BC84-8DAAD4B8ED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3633445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7_Title Slide Image 0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758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6" name="Picture 5" descr="vodafone_PPT_BG_4.jp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10258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3253136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8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330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EA0F29-1B6B-F549-8C7D-17AAB898E0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3491969"/>
            <a:ext cx="4213226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551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342802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 Image 04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3475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7" name="Picture 6" descr="vodafone_PPT_BG_3.jp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2400" y="-105094"/>
            <a:ext cx="9296400" cy="524859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221872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7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878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E01DFF-A743-4B46-98A7-7A4A1630CE8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22317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5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028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0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E01DFF-A743-4B46-98A7-7A4A1630CE8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3432047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3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5983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4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E01DFF-A743-4B46-98A7-7A4A1630CE8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2914794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0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3530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8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29464C-F365-4D4E-8D49-EE3149C162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3A24C7-5D61-6547-A9A0-D8782A3844F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920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6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90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E01DFF-A743-4B46-98A7-7A4A1630CE8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831C27-1B32-FC42-84D1-A6B1EF109DC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955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6504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29464C-F365-4D4E-8D49-EE3149C162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B21F1E-1F2D-AA49-9C69-62066E657D5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2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05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597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29464C-F365-4D4E-8D49-EE3149C162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A85D442-00B5-3045-8E27-91CE2AE9596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855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0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2647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12" name="Picture 11" descr="A picture containing person, indoor, young&#10;&#10;Description automatically generated">
            <a:extLst>
              <a:ext uri="{FF2B5EF4-FFF2-40B4-BE49-F238E27FC236}">
                <a16:creationId xmlns:a16="http://schemas.microsoft.com/office/drawing/2014/main" id="{BE29464C-F365-4D4E-8D49-EE3149C162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3758188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E29464C-F365-4D4E-8D49-EE3149C162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3A24C7-5D61-6547-A9A0-D8782A3844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598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03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in a garment&#10;&#10;Description automatically generated with low confidence">
            <a:extLst>
              <a:ext uri="{FF2B5EF4-FFF2-40B4-BE49-F238E27FC236}">
                <a16:creationId xmlns:a16="http://schemas.microsoft.com/office/drawing/2014/main" id="{75EA0F29-1B6B-F549-8C7D-17AAB898E0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3491969"/>
            <a:ext cx="4213226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551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3332078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09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DE01DFF-A743-4B46-98A7-7A4A1630CE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3511378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6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DE01DFF-A743-4B46-98A7-7A4A1630CE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819717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9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5EA0F29-1B6B-F549-8C7D-17AAB898E0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3491969"/>
            <a:ext cx="4213226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551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3571682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AD NUMBERED">
    <p:bg>
      <p:bgPr>
        <a:gradFill flip="none" rotWithShape="1">
          <a:gsLst>
            <a:gs pos="20000">
              <a:srgbClr val="820000"/>
            </a:gs>
            <a:gs pos="100000">
              <a:schemeClr val="accent1"/>
            </a:gs>
          </a:gsLst>
          <a:lin ang="19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818" y="270834"/>
            <a:ext cx="4428132" cy="986466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038E09-3872-BD4D-8339-0283C2F5BB7F}" type="datetime4">
              <a:rPr lang="en-GB" smtClean="0"/>
              <a:t>22 January 2022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1818" y="2817084"/>
            <a:ext cx="4113477" cy="1895015"/>
          </a:xfrm>
        </p:spPr>
        <p:txBody>
          <a:bodyPr/>
          <a:lstStyle>
            <a:lvl1pPr marL="127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3500" b="1" kern="1200" spc="-400" baseline="0" dirty="0">
                <a:ln w="19050">
                  <a:solidFill>
                    <a:schemeClr val="bg1"/>
                  </a:solidFill>
                </a:ln>
                <a:noFill/>
                <a:latin typeface="Vodafone Rg"/>
                <a:ea typeface="+mn-ea"/>
                <a:cs typeface="Vodafone Rg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736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Y NUMBERED">
    <p:bg>
      <p:bgPr>
        <a:solidFill>
          <a:srgbClr val="2528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818" y="270834"/>
            <a:ext cx="4428132" cy="986466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5B3401-932C-0F41-B328-1E2E01655F7D}" type="datetime4">
              <a:rPr lang="en-GB" smtClean="0"/>
              <a:t>22 January 2022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1818" y="2817084"/>
            <a:ext cx="4113477" cy="1895015"/>
          </a:xfrm>
        </p:spPr>
        <p:txBody>
          <a:bodyPr/>
          <a:lstStyle>
            <a:lvl1pPr marL="127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3500" b="1" kern="1200" spc="-400" baseline="0" dirty="0">
                <a:ln w="19050">
                  <a:solidFill>
                    <a:schemeClr val="bg1"/>
                  </a:solidFill>
                </a:ln>
                <a:noFill/>
                <a:latin typeface="Vodafone Rg"/>
                <a:ea typeface="+mn-ea"/>
                <a:cs typeface="Vodafone Rg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85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RED NUMBE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818" y="270834"/>
            <a:ext cx="4428132" cy="986466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186831-9186-1A46-8C51-DF0C6926CA7C}" type="datetime4">
              <a:rPr lang="en-GB" smtClean="0"/>
              <a:t>22 January 2022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1818" y="2817084"/>
            <a:ext cx="4113477" cy="1895015"/>
          </a:xfrm>
        </p:spPr>
        <p:txBody>
          <a:bodyPr/>
          <a:lstStyle>
            <a:lvl1pPr marL="127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3500" b="1" kern="1200" spc="-400" baseline="0" dirty="0">
                <a:ln w="19050">
                  <a:solidFill>
                    <a:schemeClr val="bg1"/>
                  </a:solidFill>
                </a:ln>
                <a:noFill/>
                <a:latin typeface="Vodafone Rg"/>
                <a:ea typeface="+mn-ea"/>
                <a:cs typeface="Vodafone Rg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660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AD">
    <p:bg>
      <p:bgPr>
        <a:gradFill flip="none" rotWithShape="1">
          <a:gsLst>
            <a:gs pos="20000">
              <a:srgbClr val="820000"/>
            </a:gs>
            <a:gs pos="100000">
              <a:schemeClr val="accent1"/>
            </a:gs>
          </a:gsLst>
          <a:lin ang="19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2000" y="1851750"/>
            <a:ext cx="6840000" cy="1440000"/>
          </a:xfrm>
        </p:spPr>
        <p:txBody>
          <a:bodyPr anchor="ctr" anchorCtr="1">
            <a:noAutofit/>
          </a:bodyPr>
          <a:lstStyle>
            <a:lvl1pPr algn="ctr"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C4EAA-71C0-7847-9938-ACF78B628920}" type="datetime4">
              <a:rPr lang="en-GB" smtClean="0"/>
              <a:t>22 January 2022</a:t>
            </a:fld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196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Y">
    <p:bg>
      <p:bgPr>
        <a:solidFill>
          <a:srgbClr val="2528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2000" y="1851750"/>
            <a:ext cx="6840000" cy="1440000"/>
          </a:xfrm>
        </p:spPr>
        <p:txBody>
          <a:bodyPr anchor="ctr" anchorCtr="1">
            <a:noAutofit/>
          </a:bodyPr>
          <a:lstStyle>
            <a:lvl1pPr algn="ctr"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0FC3112-9319-574E-965C-D7DBF43EF039}" type="datetime4">
              <a:rPr lang="en-GB" smtClean="0"/>
              <a:t>22 January 2022</a:t>
            </a:fld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457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2000" y="1851750"/>
            <a:ext cx="6840000" cy="1440000"/>
          </a:xfrm>
        </p:spPr>
        <p:txBody>
          <a:bodyPr anchor="ctr" anchorCtr="1">
            <a:noAutofit/>
          </a:bodyPr>
          <a:lstStyle>
            <a:lvl1pPr algn="ctr">
              <a:lnSpc>
                <a:spcPct val="85000"/>
              </a:lnSpc>
              <a:defRPr sz="36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0F0E956-AEC0-6E47-82BA-82F9A6FC1D28}" type="datetime4">
              <a:rPr lang="en-GB" smtClean="0"/>
              <a:t>22 January 2022</a:t>
            </a:fld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594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0825" y="205978"/>
            <a:ext cx="6538913" cy="66747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368F5-E43E-7644-B2C0-CD46918E1917}" type="datetime4">
              <a:rPr lang="en-GB" smtClean="0"/>
              <a:t>22 January 2022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Confidentiality Level in slide footer 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250825" y="873457"/>
            <a:ext cx="8642350" cy="360329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0164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pos="4277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lvl="0" algn="l"/>
            <a:r>
              <a:rPr lang="en-GB" dirty="0">
                <a:solidFill>
                  <a:schemeClr val="tx1"/>
                </a:solidFill>
              </a:rPr>
              <a:t>Insert Confidentiality Level in slide footer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CC176E-0D81-C641-9596-69944F4CACF8}" type="datetime4">
              <a:rPr lang="en-GB" smtClean="0"/>
              <a:t>22 January 2022</a:t>
            </a:fld>
            <a:endParaRPr lang="en-GB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4679950" y="873125"/>
            <a:ext cx="4213225" cy="36036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smtClean="0"/>
              <a:t>Вставка рисунка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250825" y="873125"/>
            <a:ext cx="4213225" cy="36036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89271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pos="281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 Image 04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7628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6" name="Picture 5" descr="vodafone_PPT_BG_17.jp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4989" y="-44450"/>
            <a:ext cx="9188989" cy="51879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1372078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lvl="0" algn="l"/>
            <a:r>
              <a:rPr lang="en-GB" dirty="0">
                <a:solidFill>
                  <a:schemeClr val="tx1"/>
                </a:solidFill>
              </a:rPr>
              <a:t>Insert Confidentiality Level in slide footer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0E4CCE-5AAE-AE4C-B060-0037F2F4F0B0}" type="datetime4">
              <a:rPr lang="en-GB" smtClean="0"/>
              <a:t>22 January 2022</a:t>
            </a:fld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8"/>
          </p:nvPr>
        </p:nvSpPr>
        <p:spPr>
          <a:xfrm>
            <a:off x="4679950" y="876300"/>
            <a:ext cx="4213225" cy="36004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smtClean="0"/>
              <a:t>Вставка диаграммы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250825" y="873125"/>
            <a:ext cx="4213225" cy="36036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33288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pos="281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 algn="l"/>
            <a:r>
              <a:rPr lang="en-GB" dirty="0">
                <a:solidFill>
                  <a:schemeClr val="tx1"/>
                </a:solidFill>
              </a:rPr>
              <a:t>Insert Confidentiality Level in slide foot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6B66AD2-306D-7A4A-BE64-03A187C68A13}" type="datetime4">
              <a:rPr lang="en-GB" smtClean="0"/>
              <a:t>22 January 2022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8645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 algn="l"/>
            <a:r>
              <a:rPr lang="en-GB" dirty="0">
                <a:solidFill>
                  <a:schemeClr val="tx1"/>
                </a:solidFill>
              </a:rPr>
              <a:t>Insert Confidentiality Level in slide footer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001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x3 Video placehol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>
          <a:xfrm>
            <a:off x="1608401" y="266700"/>
            <a:ext cx="5927199" cy="4445399"/>
          </a:xfrm>
          <a:solidFill>
            <a:schemeClr val="tx1"/>
          </a:solidFill>
        </p:spPr>
        <p:txBody>
          <a:bodyPr lIns="72000" tIns="72000"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4x3 video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0F61F83-7858-3B44-A5D2-D6202632A1FB}" type="datetime4">
              <a:rPr lang="en-GB" smtClean="0"/>
              <a:t>22 January 2022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475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x9 Video placehol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>
          <a:xfrm>
            <a:off x="822325" y="266399"/>
            <a:ext cx="7499351" cy="4218385"/>
          </a:xfrm>
          <a:solidFill>
            <a:schemeClr val="tx1"/>
          </a:solidFill>
        </p:spPr>
        <p:txBody>
          <a:bodyPr lIns="72000" tIns="72000"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16x9 video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C1523-9997-0346-BA33-5767E91BED4D}" type="datetime4">
              <a:rPr lang="en-GB" smtClean="0"/>
              <a:t>22 January 2022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840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frame 16x9 Video placehol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  <a:solidFill>
            <a:schemeClr val="tx1"/>
          </a:solidFill>
        </p:spPr>
        <p:txBody>
          <a:bodyPr lIns="72000" tIns="72000"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full frame 16x9 video</a:t>
            </a:r>
          </a:p>
        </p:txBody>
      </p:sp>
    </p:spTree>
    <p:extLst>
      <p:ext uri="{BB962C8B-B14F-4D97-AF65-F5344CB8AC3E}">
        <p14:creationId xmlns:p14="http://schemas.microsoft.com/office/powerpoint/2010/main" val="1216117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gether we can GRAD">
    <p:bg>
      <p:bgPr>
        <a:gradFill>
          <a:gsLst>
            <a:gs pos="20000">
              <a:srgbClr val="820000"/>
            </a:gs>
            <a:gs pos="100000">
              <a:schemeClr val="accent1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85C59AC-A296-DF4D-9A1F-F2DE00C680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59200" y="2158950"/>
            <a:ext cx="1625600" cy="986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911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gether we can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85C59AC-A296-DF4D-9A1F-F2DE00C680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59200" y="2158950"/>
            <a:ext cx="1625600" cy="986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171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GRAD">
    <p:bg>
      <p:bgPr>
        <a:gradFill>
          <a:gsLst>
            <a:gs pos="20000">
              <a:srgbClr val="820000"/>
            </a:gs>
            <a:gs pos="100000">
              <a:schemeClr val="accent1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80876" y="2180956"/>
            <a:ext cx="782248" cy="78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161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80876" y="2180956"/>
            <a:ext cx="782248" cy="78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Title Slide Image 04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123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6" name="Picture 5" descr="vodafone_PPT_BG_9.jpg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4267999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0825" y="205978"/>
            <a:ext cx="6538913" cy="66747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22 January 2022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Confidentiality Level in slide footer 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250825" y="873457"/>
            <a:ext cx="8642350" cy="36032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3441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7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5_Title Slide Image 0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912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7" name="Picture 6" descr="vodafone_PPT_BG_7.jpg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2965361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Image 0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719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6" name="Picture 5" descr="vodafone_PPT_BG_18.jpg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</p:spTree>
    <p:extLst>
      <p:ext uri="{BB962C8B-B14F-4D97-AF65-F5344CB8AC3E}">
        <p14:creationId xmlns:p14="http://schemas.microsoft.com/office/powerpoint/2010/main" val="485995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7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17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E01DFF-A743-4B46-98A7-7A4A1630CE8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4" y="4089600"/>
            <a:ext cx="2087880" cy="682887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831C27-1B32-FC42-84D1-A6B1EF109DC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04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9751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Слайд think-cell" r:id="rId5" imgW="288" imgH="288" progId="TCLayout.ActiveDocument.1">
                  <p:embed/>
                </p:oleObj>
              </mc:Choice>
              <mc:Fallback>
                <p:oleObj name="Слайд think-cell" r:id="rId5" imgW="288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 ea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uk-UA" sz="2600" b="1" i="0" kern="1200" baseline="0" dirty="0" smtClean="0">
              <a:solidFill>
                <a:srgbClr val="34342B"/>
              </a:solidFill>
              <a:latin typeface="Vodafone Rg" pitchFamily="34" charset="0"/>
              <a:ea typeface="+mj-ea"/>
              <a:cs typeface="+mn-cs"/>
              <a:sym typeface="Vodafone Rg" panose="020B060608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29464C-F365-4D4E-8D49-EE3149C162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824" y="285207"/>
            <a:ext cx="4213225" cy="721268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26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uk-UA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5" y="1184426"/>
            <a:ext cx="2087880" cy="6828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600">
                <a:solidFill>
                  <a:schemeClr val="accent1"/>
                </a:solidFill>
                <a:latin typeface="Vodafone Lt" panose="020B060604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dirty="0" smtClean="0"/>
              <a:t>Образец подзаголовка</a:t>
            </a:r>
            <a:endParaRPr lang="uk-UA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B21F1E-1F2D-AA49-9C69-62066E657D5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584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2.emf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2966109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1" name="Слайд think-cell" r:id="rId54" imgW="360" imgH="360" progId="TCLayout.ActiveDocument.1">
                  <p:embed/>
                </p:oleObj>
              </mc:Choice>
              <mc:Fallback>
                <p:oleObj name="Слайд think-cell" r:id="rId5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6"/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205978"/>
            <a:ext cx="8635526" cy="6674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873457"/>
            <a:ext cx="5886450" cy="36032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365295" y="4713136"/>
            <a:ext cx="413410" cy="2388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1"/>
                </a:solidFill>
                <a:latin typeface="Vodafone Lt" panose="020B0606040202020204" pitchFamily="34" charset="0"/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53395" y="4712099"/>
            <a:ext cx="2087880" cy="2388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IE" sz="800" kern="1200" dirty="0">
                <a:solidFill>
                  <a:schemeClr val="tx1"/>
                </a:solidFill>
                <a:latin typeface="Vodafone Lt" panose="020B0606040202020204" pitchFamily="34" charset="0"/>
                <a:ea typeface="+mn-ea"/>
                <a:cs typeface="+mn-cs"/>
              </a:defRPr>
            </a:lvl1pPr>
          </a:lstStyle>
          <a:p>
            <a:r>
              <a:rPr lang="en-GB"/>
              <a:t>Insert Confidentiality Level in slide footer 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137275" y="4712099"/>
            <a:ext cx="2133600" cy="2388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GB" sz="800" smtClean="0">
                <a:latin typeface="Vodafone Lt" panose="020B0606040202020204" pitchFamily="34" charset="0"/>
              </a:defRPr>
            </a:lvl1pPr>
          </a:lstStyle>
          <a:p>
            <a:fld id="{BDDBAA49-6CB8-054C-996A-16DA1E81284C}" type="datetime4">
              <a:rPr lang="en-GB" smtClean="0"/>
              <a:pPr/>
              <a:t>22 January 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3687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92" r:id="rId2"/>
    <p:sldLayoutId id="2147483736" r:id="rId3"/>
    <p:sldLayoutId id="2147483794" r:id="rId4"/>
    <p:sldLayoutId id="2147483793" r:id="rId5"/>
    <p:sldLayoutId id="2147483787" r:id="rId6"/>
    <p:sldLayoutId id="2147483788" r:id="rId7"/>
    <p:sldLayoutId id="2147483778" r:id="rId8"/>
    <p:sldLayoutId id="2147483773" r:id="rId9"/>
    <p:sldLayoutId id="2147483771" r:id="rId10"/>
    <p:sldLayoutId id="2147483768" r:id="rId11"/>
    <p:sldLayoutId id="2147483767" r:id="rId12"/>
    <p:sldLayoutId id="2147483791" r:id="rId13"/>
    <p:sldLayoutId id="2147483789" r:id="rId14"/>
    <p:sldLayoutId id="2147483781" r:id="rId15"/>
    <p:sldLayoutId id="2147483774" r:id="rId16"/>
    <p:sldLayoutId id="2147483732" r:id="rId17"/>
    <p:sldLayoutId id="2147483790" r:id="rId18"/>
    <p:sldLayoutId id="2147483785" r:id="rId19"/>
    <p:sldLayoutId id="2147483784" r:id="rId20"/>
    <p:sldLayoutId id="2147483783" r:id="rId21"/>
    <p:sldLayoutId id="2147483782" r:id="rId22"/>
    <p:sldLayoutId id="2147483780" r:id="rId23"/>
    <p:sldLayoutId id="2147483777" r:id="rId24"/>
    <p:sldLayoutId id="2147483772" r:id="rId25"/>
    <p:sldLayoutId id="2147483769" r:id="rId26"/>
    <p:sldLayoutId id="2147483766" r:id="rId27"/>
    <p:sldLayoutId id="2147483749" r:id="rId28"/>
    <p:sldLayoutId id="2147483729" r:id="rId29"/>
    <p:sldLayoutId id="2147483753" r:id="rId30"/>
    <p:sldLayoutId id="2147483756" r:id="rId31"/>
    <p:sldLayoutId id="2147483675" r:id="rId32"/>
    <p:sldLayoutId id="2147483758" r:id="rId33"/>
    <p:sldLayoutId id="2147483759" r:id="rId34"/>
    <p:sldLayoutId id="2147483760" r:id="rId35"/>
    <p:sldLayoutId id="2147483761" r:id="rId36"/>
    <p:sldLayoutId id="2147483762" r:id="rId37"/>
    <p:sldLayoutId id="2147483650" r:id="rId38"/>
    <p:sldLayoutId id="2147483706" r:id="rId39"/>
    <p:sldLayoutId id="2147483709" r:id="rId40"/>
    <p:sldLayoutId id="2147483654" r:id="rId41"/>
    <p:sldLayoutId id="2147483660" r:id="rId42"/>
    <p:sldLayoutId id="2147483666" r:id="rId43"/>
    <p:sldLayoutId id="2147483667" r:id="rId44"/>
    <p:sldLayoutId id="2147483708" r:id="rId45"/>
    <p:sldLayoutId id="2147483763" r:id="rId46"/>
    <p:sldLayoutId id="2147483764" r:id="rId47"/>
    <p:sldLayoutId id="2147483701" r:id="rId48"/>
    <p:sldLayoutId id="2147483765" r:id="rId49"/>
    <p:sldLayoutId id="2147483795" r:id="rId50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Vodafone Rg" pitchFamily="34" charset="0"/>
          <a:ea typeface="+mj-ea"/>
          <a:cs typeface="+mj-cs"/>
        </a:defRPr>
      </a:lvl1pPr>
    </p:titleStyle>
    <p:bodyStyle>
      <a:lvl1pPr marL="138113" indent="-138113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1pPr>
      <a:lvl2pPr marL="347663" indent="-147638" algn="l" defTabSz="914400" rtl="0" eaLnBrk="1" latinLnBrk="0" hangingPunct="1">
        <a:spcBef>
          <a:spcPts val="0"/>
        </a:spcBef>
        <a:spcAft>
          <a:spcPts val="300"/>
        </a:spcAft>
        <a:buClr>
          <a:schemeClr val="accent1"/>
        </a:buClr>
        <a:buFont typeface="Calibri" pitchFamily="34" charset="0"/>
        <a:buChar char="–"/>
        <a:defRPr sz="14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2pPr>
      <a:lvl3pPr marL="385763" indent="146050" algn="l" defTabSz="914400" rtl="0" eaLnBrk="1" latinLnBrk="0" hangingPunct="1">
        <a:spcBef>
          <a:spcPts val="0"/>
        </a:spcBef>
        <a:spcAft>
          <a:spcPts val="300"/>
        </a:spcAft>
        <a:buClr>
          <a:schemeClr val="accent1"/>
        </a:buClr>
        <a:buFont typeface="Calibri" pitchFamily="34" charset="0"/>
        <a:buChar char="–"/>
        <a:defRPr sz="14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3pPr>
      <a:lvl4pPr marL="717550" indent="-150813" algn="l" defTabSz="914400" rtl="0" eaLnBrk="1" latinLnBrk="0" hangingPunct="1">
        <a:spcBef>
          <a:spcPct val="20000"/>
        </a:spcBef>
        <a:buClr>
          <a:schemeClr val="accent1"/>
        </a:buClr>
        <a:buFont typeface="Calibri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61925" algn="l" defTabSz="914400" rtl="0" eaLnBrk="1" latinLnBrk="0" hangingPunct="1">
        <a:spcBef>
          <a:spcPct val="20000"/>
        </a:spcBef>
        <a:buClr>
          <a:schemeClr val="accent1"/>
        </a:buClr>
        <a:buFont typeface="Calibri" pitchFamily="34" charset="0"/>
        <a:buChar char="–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58" userDrawn="1">
          <p15:clr>
            <a:srgbClr val="F26B43"/>
          </p15:clr>
        </p15:guide>
        <p15:guide id="3" orient="horz" pos="2820" userDrawn="1">
          <p15:clr>
            <a:srgbClr val="F26B43"/>
          </p15:clr>
        </p15:guide>
        <p15:guide id="4" pos="5602" userDrawn="1">
          <p15:clr>
            <a:srgbClr val="F26B43"/>
          </p15:clr>
        </p15:guide>
        <p15:guide id="5" pos="2812" userDrawn="1">
          <p15:clr>
            <a:srgbClr val="F26B43"/>
          </p15:clr>
        </p15:guide>
        <p15:guide id="6" pos="2948" userDrawn="1">
          <p15:clr>
            <a:srgbClr val="F26B43"/>
          </p15:clr>
        </p15:guide>
        <p15:guide id="7" orient="horz" pos="55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0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1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52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8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55.xml"/><Relationship Id="rId7" Type="http://schemas.openxmlformats.org/officeDocument/2006/relationships/image" Target="../media/image1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7" Type="http://schemas.openxmlformats.org/officeDocument/2006/relationships/image" Target="../media/image39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0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1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7" Type="http://schemas.openxmlformats.org/officeDocument/2006/relationships/image" Target="../media/image43.png"/><Relationship Id="rId2" Type="http://schemas.openxmlformats.org/officeDocument/2006/relationships/tags" Target="../tags/tag5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2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7" Type="http://schemas.openxmlformats.org/officeDocument/2006/relationships/image" Target="../media/image45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4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6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50.xml"/><Relationship Id="rId7" Type="http://schemas.openxmlformats.org/officeDocument/2006/relationships/image" Target="../media/image48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7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61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uk-UA" dirty="0" smtClean="0"/>
              <a:t>Прогноз </a:t>
            </a:r>
            <a:r>
              <a:rPr lang="en-US" dirty="0" smtClean="0"/>
              <a:t>data-</a:t>
            </a:r>
            <a:r>
              <a:rPr lang="uk-UA" dirty="0" smtClean="0"/>
              <a:t>трафіку абонента</a:t>
            </a:r>
            <a:endParaRPr lang="uk-UA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ofia Shvets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1969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946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4" name="Слайд think-cell" r:id="rId4" imgW="360" imgH="359" progId="TCLayout.ActiveDocument.1">
                  <p:embed/>
                </p:oleObj>
              </mc:Choice>
              <mc:Fallback>
                <p:oleObj name="Слайд think-cell" r:id="rId4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874" y="252469"/>
            <a:ext cx="6538913" cy="438648"/>
          </a:xfrm>
        </p:spPr>
        <p:txBody>
          <a:bodyPr vert="horz"/>
          <a:lstStyle/>
          <a:p>
            <a:r>
              <a:rPr lang="uk-UA" dirty="0" smtClean="0"/>
              <a:t>Оцінка моделі</a:t>
            </a:r>
            <a:endParaRPr lang="uk-UA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22 January 2022</a:t>
            </a:fld>
            <a:endParaRPr lang="en-GB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Insert Confidentiality Level in slide footer </a:t>
            </a:r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3"/>
          </p:nvPr>
        </p:nvSpPr>
        <p:spPr>
          <a:xfrm>
            <a:off x="253395" y="1054212"/>
            <a:ext cx="8642350" cy="678896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RMSE test  = 8.31</a:t>
            </a:r>
          </a:p>
          <a:p>
            <a:pPr marL="0" indent="0">
              <a:buNone/>
            </a:pPr>
            <a:r>
              <a:rPr lang="en-US" dirty="0" smtClean="0"/>
              <a:t>RMSE train = 8.21 </a:t>
            </a:r>
            <a:r>
              <a:rPr lang="ru-RU" dirty="0" smtClean="0"/>
              <a:t>(</a:t>
            </a:r>
            <a:r>
              <a:rPr lang="uk-UA" dirty="0" smtClean="0"/>
              <a:t>свідчить, що модель не перенавчилася)</a:t>
            </a:r>
            <a:endParaRPr lang="uk-UA" dirty="0"/>
          </a:p>
        </p:txBody>
      </p:sp>
      <p:pic>
        <p:nvPicPr>
          <p:cNvPr id="11" name="Picture 39" descr="3_KPIs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40" y="125756"/>
            <a:ext cx="460451" cy="460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5945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4269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3" name="Слайд think-cell" r:id="rId4" imgW="360" imgH="359" progId="TCLayout.ActiveDocument.1">
                  <p:embed/>
                </p:oleObj>
              </mc:Choice>
              <mc:Fallback>
                <p:oleObj name="Слайд think-cell" r:id="rId4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95838" y="471793"/>
            <a:ext cx="6538913" cy="667479"/>
          </a:xfrm>
        </p:spPr>
        <p:txBody>
          <a:bodyPr vert="horz"/>
          <a:lstStyle/>
          <a:p>
            <a:r>
              <a:rPr lang="uk-UA" dirty="0" smtClean="0"/>
              <a:t>Найважливіші показники абонента, що впливають на майбутнє використання трафіку</a:t>
            </a:r>
            <a:endParaRPr lang="uk-UA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22 January 2022</a:t>
            </a:fld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7" name="Объект 5"/>
          <p:cNvSpPr txBox="1">
            <a:spLocks noGrp="1"/>
          </p:cNvSpPr>
          <p:nvPr>
            <p:ph sz="quarter" idx="13"/>
          </p:nvPr>
        </p:nvSpPr>
        <p:spPr>
          <a:xfrm>
            <a:off x="1095838" y="1754372"/>
            <a:ext cx="8642350" cy="284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38113" indent="-13811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Calibri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Calibri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dirty="0" err="1" smtClean="0"/>
              <a:t>Згенеровані</a:t>
            </a:r>
            <a:r>
              <a:rPr lang="uk-UA" dirty="0" smtClean="0"/>
              <a:t> характеристики трафіку: сума за півроку, середнє, динаміка та ін.</a:t>
            </a:r>
          </a:p>
          <a:p>
            <a:r>
              <a:rPr lang="uk-UA" dirty="0" smtClean="0"/>
              <a:t>Дані безпосередньо 4</a:t>
            </a:r>
            <a:r>
              <a:rPr lang="en-US" dirty="0" smtClean="0"/>
              <a:t>g </a:t>
            </a:r>
            <a:r>
              <a:rPr lang="uk-UA" dirty="0" smtClean="0"/>
              <a:t>трафіку</a:t>
            </a:r>
          </a:p>
          <a:p>
            <a:r>
              <a:rPr lang="uk-UA" dirty="0" smtClean="0"/>
              <a:t>Дані про </a:t>
            </a:r>
            <a:r>
              <a:rPr lang="uk-UA" dirty="0" err="1" smtClean="0"/>
              <a:t>девайс</a:t>
            </a:r>
            <a:r>
              <a:rPr lang="uk-UA" dirty="0" smtClean="0"/>
              <a:t>: скільки користується </a:t>
            </a:r>
            <a:r>
              <a:rPr lang="uk-UA" dirty="0" err="1" smtClean="0"/>
              <a:t>девайсом</a:t>
            </a:r>
            <a:r>
              <a:rPr lang="uk-UA" dirty="0" smtClean="0"/>
              <a:t>, ціна</a:t>
            </a:r>
          </a:p>
          <a:p>
            <a:r>
              <a:rPr lang="uk-UA" dirty="0" smtClean="0"/>
              <a:t>Дані про локацію</a:t>
            </a:r>
          </a:p>
        </p:txBody>
      </p:sp>
      <p:pic>
        <p:nvPicPr>
          <p:cNvPr id="19" name="Picture 22" descr="\\kv-ors-fs1.mobvdi.mts.com.ua\kv-ors-fs1\UserFolders\arodionova\Desktop\Инфографика\VF icons\New folder\Серые\16 - Copy (9)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896" y="471793"/>
            <a:ext cx="593841" cy="661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53797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817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9" name="Слайд think-cell" r:id="rId4" imgW="360" imgH="359" progId="TCLayout.ActiveDocument.1">
                  <p:embed/>
                </p:oleObj>
              </mc:Choice>
              <mc:Fallback>
                <p:oleObj name="Слайд think-cell" r:id="rId4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32725" y="479855"/>
            <a:ext cx="6538913" cy="443662"/>
          </a:xfrm>
        </p:spPr>
        <p:txBody>
          <a:bodyPr vert="horz"/>
          <a:lstStyle/>
          <a:p>
            <a:r>
              <a:rPr lang="uk-UA" dirty="0" smtClean="0"/>
              <a:t>Введення моделі в </a:t>
            </a:r>
            <a:r>
              <a:rPr lang="uk-UA" dirty="0" err="1" smtClean="0"/>
              <a:t>продуктив</a:t>
            </a:r>
            <a:endParaRPr lang="uk-UA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22 January 2022</a:t>
            </a:fld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3"/>
          </p:nvPr>
        </p:nvSpPr>
        <p:spPr>
          <a:xfrm>
            <a:off x="581006" y="1556575"/>
            <a:ext cx="8339710" cy="2521430"/>
          </a:xfrm>
        </p:spPr>
        <p:txBody>
          <a:bodyPr/>
          <a:lstStyle/>
          <a:p>
            <a:r>
              <a:rPr lang="uk-UA" dirty="0" smtClean="0"/>
              <a:t>Щомісячний прогноз використання трафіку </a:t>
            </a:r>
          </a:p>
          <a:p>
            <a:r>
              <a:rPr lang="uk-UA" dirty="0" smtClean="0"/>
              <a:t>Побудова звітності на основі прогнозу про </a:t>
            </a:r>
            <a:r>
              <a:rPr lang="ru-RU" dirty="0" err="1" smtClean="0"/>
              <a:t>майбутн</a:t>
            </a:r>
            <a:r>
              <a:rPr lang="uk-UA" dirty="0" smtClean="0"/>
              <a:t>є навантаження мережі і необхідні базові станції</a:t>
            </a:r>
          </a:p>
          <a:p>
            <a:endParaRPr lang="uk-UA" dirty="0"/>
          </a:p>
          <a:p>
            <a:pPr marL="0" indent="0">
              <a:buNone/>
            </a:pPr>
            <a:r>
              <a:rPr lang="uk-UA" dirty="0" smtClean="0"/>
              <a:t>Маркетингові ініціативи:</a:t>
            </a:r>
          </a:p>
          <a:p>
            <a:r>
              <a:rPr lang="uk-UA" dirty="0" smtClean="0"/>
              <a:t>Щотижневий прогноз для аналітичних розрахунків та </a:t>
            </a:r>
            <a:r>
              <a:rPr lang="uk-UA" dirty="0" err="1" smtClean="0"/>
              <a:t>смс</a:t>
            </a:r>
            <a:r>
              <a:rPr lang="uk-UA" dirty="0" smtClean="0"/>
              <a:t>-розсилок</a:t>
            </a:r>
          </a:p>
          <a:p>
            <a:r>
              <a:rPr lang="uk-UA" dirty="0" smtClean="0"/>
              <a:t>Онлайн-</a:t>
            </a:r>
            <a:r>
              <a:rPr lang="uk-UA" dirty="0" err="1" smtClean="0"/>
              <a:t>скоринг</a:t>
            </a:r>
            <a:r>
              <a:rPr lang="uk-UA" dirty="0" smtClean="0"/>
              <a:t> для формування </a:t>
            </a:r>
            <a:r>
              <a:rPr lang="uk-UA" dirty="0" err="1" smtClean="0"/>
              <a:t>оферу</a:t>
            </a:r>
            <a:r>
              <a:rPr lang="uk-UA" dirty="0" smtClean="0"/>
              <a:t> в додатку\на сайті</a:t>
            </a:r>
            <a:endParaRPr lang="uk-UA" dirty="0"/>
          </a:p>
        </p:txBody>
      </p:sp>
      <p:pic>
        <p:nvPicPr>
          <p:cNvPr id="66567" name="Picture 7" descr="Gear fre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486" y="224957"/>
            <a:ext cx="883849" cy="883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83453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919170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806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1" name="Слайд think-cell" r:id="rId6" imgW="240" imgH="240" progId="TCLayout.ActiveDocument.1">
                  <p:embed/>
                </p:oleObj>
              </mc:Choice>
              <mc:Fallback>
                <p:oleObj name="Слайд think-cell" r:id="rId6" imgW="240" imgH="24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400" b="1" kern="1200" dirty="0" smtClean="0">
              <a:solidFill>
                <a:srgbClr val="34342B"/>
              </a:solidFill>
              <a:latin typeface="Vodafone Rg" panose="020B0606080202020204" pitchFamily="34" charset="0"/>
              <a:ea typeface="+mj-ea"/>
              <a:cs typeface="+mj-cs"/>
              <a:sym typeface="Vodafone Rg" panose="020B060608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59537" y="137686"/>
            <a:ext cx="4429125" cy="667479"/>
          </a:xfrm>
        </p:spPr>
        <p:txBody>
          <a:bodyPr vert="horz"/>
          <a:lstStyle/>
          <a:p>
            <a:r>
              <a:rPr lang="ru-RU" dirty="0" err="1" smtClean="0"/>
              <a:t>Ціль</a:t>
            </a:r>
            <a:r>
              <a:rPr lang="ru-RU" dirty="0" smtClean="0"/>
              <a:t> </a:t>
            </a:r>
            <a:r>
              <a:rPr lang="ru-RU" dirty="0" err="1" smtClean="0"/>
              <a:t>моделі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939476" y="654303"/>
            <a:ext cx="6851637" cy="8765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ru-RU" sz="1400" b="1" dirty="0" err="1" smtClean="0"/>
              <a:t>Спрогнозувати</a:t>
            </a:r>
            <a:r>
              <a:rPr lang="ru-RU" sz="1400" b="1" dirty="0" smtClean="0"/>
              <a:t> </a:t>
            </a:r>
            <a:r>
              <a:rPr lang="ru-RU" sz="1400" b="1" dirty="0" err="1"/>
              <a:t>навантаження</a:t>
            </a:r>
            <a:r>
              <a:rPr lang="ru-RU" sz="1400" b="1" dirty="0"/>
              <a:t> </a:t>
            </a:r>
            <a:r>
              <a:rPr lang="ru-RU" sz="1400" b="1" dirty="0" err="1"/>
              <a:t>мережі</a:t>
            </a:r>
            <a:r>
              <a:rPr lang="ru-RU" sz="1400" b="1" dirty="0"/>
              <a:t> через 6 </a:t>
            </a:r>
            <a:r>
              <a:rPr lang="ru-RU" sz="1400" b="1" dirty="0" err="1"/>
              <a:t>місяців</a:t>
            </a:r>
            <a:r>
              <a:rPr lang="ru-RU" sz="1400" b="1" dirty="0"/>
              <a:t> </a:t>
            </a:r>
            <a:endParaRPr lang="ru-RU" sz="1400" b="1" dirty="0" smtClean="0"/>
          </a:p>
          <a:p>
            <a:endParaRPr lang="ru-RU" sz="1400" b="1" dirty="0"/>
          </a:p>
          <a:p>
            <a:r>
              <a:rPr lang="ru-RU" sz="1400" dirty="0" smtClean="0"/>
              <a:t>Тип </a:t>
            </a:r>
            <a:r>
              <a:rPr lang="ru-RU" sz="1400" dirty="0" err="1" smtClean="0"/>
              <a:t>задачі</a:t>
            </a:r>
            <a:r>
              <a:rPr lang="ru-RU" sz="1400" dirty="0" smtClean="0"/>
              <a:t>: </a:t>
            </a:r>
            <a:r>
              <a:rPr lang="ru-RU" sz="1400" dirty="0" err="1" smtClean="0"/>
              <a:t>регресійне</a:t>
            </a:r>
            <a:r>
              <a:rPr lang="ru-RU" sz="1400" dirty="0" smtClean="0"/>
              <a:t> </a:t>
            </a:r>
            <a:r>
              <a:rPr lang="ru-RU" sz="1400" dirty="0" err="1" smtClean="0"/>
              <a:t>прогнозтичне</a:t>
            </a:r>
            <a:r>
              <a:rPr lang="ru-RU" sz="1400" dirty="0" smtClean="0"/>
              <a:t> </a:t>
            </a:r>
            <a:r>
              <a:rPr lang="ru-RU" sz="1400" dirty="0" err="1" smtClean="0"/>
              <a:t>моделювання</a:t>
            </a:r>
            <a:endParaRPr lang="ru-RU" sz="1400" dirty="0" smtClean="0"/>
          </a:p>
          <a:p>
            <a:r>
              <a:rPr lang="uk-UA" sz="1400" dirty="0" smtClean="0"/>
              <a:t>Характеристика, яку прогнозуємо: кількість використаних ГБ абонентом</a:t>
            </a:r>
            <a:endParaRPr lang="ru-RU" sz="1400" dirty="0" smtClean="0"/>
          </a:p>
          <a:p>
            <a:r>
              <a:rPr lang="ru-RU" sz="1400" dirty="0" smtClean="0"/>
              <a:t>  </a:t>
            </a:r>
            <a:endParaRPr lang="ru-RU" sz="1400" dirty="0"/>
          </a:p>
        </p:txBody>
      </p:sp>
      <p:grpSp>
        <p:nvGrpSpPr>
          <p:cNvPr id="36" name="Группа 35"/>
          <p:cNvGrpSpPr/>
          <p:nvPr/>
        </p:nvGrpSpPr>
        <p:grpSpPr>
          <a:xfrm>
            <a:off x="959537" y="3951608"/>
            <a:ext cx="7353472" cy="683622"/>
            <a:chOff x="806459" y="2921726"/>
            <a:chExt cx="7353472" cy="683622"/>
          </a:xfrm>
        </p:grpSpPr>
        <p:grpSp>
          <p:nvGrpSpPr>
            <p:cNvPr id="35" name="Группа 34"/>
            <p:cNvGrpSpPr/>
            <p:nvPr/>
          </p:nvGrpSpPr>
          <p:grpSpPr>
            <a:xfrm>
              <a:off x="992777" y="2921726"/>
              <a:ext cx="7167154" cy="317863"/>
              <a:chOff x="992777" y="2921726"/>
              <a:chExt cx="7167154" cy="317863"/>
            </a:xfrm>
          </p:grpSpPr>
          <p:cxnSp>
            <p:nvCxnSpPr>
              <p:cNvPr id="11" name="Прямая со стрелкой 10"/>
              <p:cNvCxnSpPr/>
              <p:nvPr/>
            </p:nvCxnSpPr>
            <p:spPr>
              <a:xfrm>
                <a:off x="992777" y="3082835"/>
                <a:ext cx="7167154" cy="0"/>
              </a:xfrm>
              <a:prstGeom prst="straightConnector1">
                <a:avLst/>
              </a:prstGeom>
              <a:ln w="22225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Прямая соединительная линия 23"/>
              <p:cNvCxnSpPr/>
              <p:nvPr/>
            </p:nvCxnSpPr>
            <p:spPr>
              <a:xfrm flipH="1" flipV="1">
                <a:off x="1703223" y="2921726"/>
                <a:ext cx="134286" cy="39188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Прямая соединительная линия 24"/>
              <p:cNvCxnSpPr/>
              <p:nvPr/>
            </p:nvCxnSpPr>
            <p:spPr>
              <a:xfrm>
                <a:off x="3143795" y="2943497"/>
                <a:ext cx="0" cy="278675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Прямая соединительная линия 25"/>
              <p:cNvCxnSpPr/>
              <p:nvPr/>
            </p:nvCxnSpPr>
            <p:spPr>
              <a:xfrm>
                <a:off x="6251944" y="2960914"/>
                <a:ext cx="0" cy="278675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TextBox 30"/>
            <p:cNvSpPr txBox="1"/>
            <p:nvPr/>
          </p:nvSpPr>
          <p:spPr>
            <a:xfrm>
              <a:off x="806459" y="3157366"/>
              <a:ext cx="1818263" cy="339635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buFont typeface="Arial" pitchFamily="34" charset="0"/>
                <a:buNone/>
              </a:pPr>
              <a:r>
                <a:rPr lang="uk-UA" sz="1400" dirty="0" smtClean="0">
                  <a:latin typeface="Vodafone Rg" pitchFamily="34" charset="0"/>
                </a:rPr>
                <a:t>Історичні </a:t>
              </a:r>
              <a:r>
                <a:rPr lang="uk-UA" sz="1400" dirty="0" smtClean="0">
                  <a:latin typeface="Vodafone Rg" pitchFamily="34" charset="0"/>
                </a:rPr>
                <a:t>дані</a:t>
              </a:r>
              <a:endParaRPr lang="uk-UA" sz="1400" dirty="0" smtClean="0">
                <a:latin typeface="Vodafone Rg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662646" y="3265713"/>
              <a:ext cx="1362892" cy="339635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buFont typeface="Arial" pitchFamily="34" charset="0"/>
                <a:buNone/>
              </a:pPr>
              <a:r>
                <a:rPr lang="uk-UA" sz="1400" dirty="0" smtClean="0">
                  <a:latin typeface="Vodafone Rg" pitchFamily="34" charset="0"/>
                </a:rPr>
                <a:t>1 </a:t>
              </a:r>
              <a:r>
                <a:rPr lang="uk-UA" sz="1400" dirty="0" smtClean="0">
                  <a:latin typeface="Vodafone Rg" pitchFamily="34" charset="0"/>
                </a:rPr>
                <a:t>січня</a:t>
              </a:r>
              <a:endParaRPr lang="uk-UA" sz="1400" dirty="0" smtClean="0">
                <a:latin typeface="Vodafone Rg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595813" y="3265713"/>
              <a:ext cx="1362892" cy="339635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buFont typeface="Arial" pitchFamily="34" charset="0"/>
                <a:buNone/>
              </a:pPr>
              <a:r>
                <a:rPr lang="uk-UA" sz="1400" dirty="0" smtClean="0">
                  <a:latin typeface="Vodafone Rg" pitchFamily="34" charset="0"/>
                </a:rPr>
                <a:t>1 липня</a:t>
              </a:r>
            </a:p>
          </p:txBody>
        </p:sp>
      </p:grpSp>
      <p:sp>
        <p:nvSpPr>
          <p:cNvPr id="34" name="Овал 33"/>
          <p:cNvSpPr/>
          <p:nvPr/>
        </p:nvSpPr>
        <p:spPr>
          <a:xfrm>
            <a:off x="2742862" y="2185014"/>
            <a:ext cx="1081559" cy="925379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1200" b="1" kern="1200" dirty="0" smtClean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rPr>
              <a:t>Дата </a:t>
            </a:r>
            <a:r>
              <a:rPr lang="uk-UA" sz="1200" b="1" kern="1200" dirty="0" err="1" smtClean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rPr>
              <a:t>скорингу</a:t>
            </a:r>
            <a:endParaRPr lang="uk-UA" sz="1200" b="1" kern="1200" dirty="0" smtClean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95054" y="3951548"/>
            <a:ext cx="2701819" cy="1964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uk-UA" sz="1000" kern="1200" dirty="0" smtClean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590542" y="3389648"/>
            <a:ext cx="1383468" cy="2923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uk-UA" sz="1200" dirty="0" smtClean="0">
                <a:latin typeface="Vodafone Rg" pitchFamily="34" charset="0"/>
              </a:rPr>
              <a:t>Об</a:t>
            </a:r>
            <a:r>
              <a:rPr lang="en-US" sz="1200" dirty="0" smtClean="0">
                <a:latin typeface="Vodafone Rg" pitchFamily="34" charset="0"/>
              </a:rPr>
              <a:t>’</a:t>
            </a:r>
            <a:r>
              <a:rPr lang="uk-UA" sz="1200" dirty="0" err="1" smtClean="0">
                <a:latin typeface="Vodafone Rg" pitchFamily="34" charset="0"/>
              </a:rPr>
              <a:t>єм</a:t>
            </a:r>
            <a:r>
              <a:rPr lang="uk-UA" sz="1200" dirty="0" smtClean="0">
                <a:latin typeface="Vodafone Rg" pitchFamily="34" charset="0"/>
              </a:rPr>
              <a:t> використаного </a:t>
            </a:r>
            <a:r>
              <a:rPr lang="en-US" sz="1200" dirty="0" smtClean="0">
                <a:latin typeface="Vodafone Rg" pitchFamily="34" charset="0"/>
              </a:rPr>
              <a:t>data-</a:t>
            </a:r>
            <a:r>
              <a:rPr lang="ru-RU" sz="1200" dirty="0" smtClean="0">
                <a:latin typeface="Vodafone Rg" pitchFamily="34" charset="0"/>
              </a:rPr>
              <a:t>т</a:t>
            </a:r>
            <a:r>
              <a:rPr lang="uk-UA" sz="1200" dirty="0" smtClean="0">
                <a:latin typeface="Vodafone Rg" pitchFamily="34" charset="0"/>
              </a:rPr>
              <a:t>рафіку</a:t>
            </a:r>
            <a:endParaRPr lang="ru-RU" sz="1200" dirty="0" smtClean="0">
              <a:latin typeface="Vodafone Rg" pitchFamily="34" charset="0"/>
            </a:endParaRPr>
          </a:p>
        </p:txBody>
      </p:sp>
      <p:cxnSp>
        <p:nvCxnSpPr>
          <p:cNvPr id="21" name="Прямая со стрелкой 20"/>
          <p:cNvCxnSpPr/>
          <p:nvPr/>
        </p:nvCxnSpPr>
        <p:spPr>
          <a:xfrm>
            <a:off x="6374905" y="3894352"/>
            <a:ext cx="1665090" cy="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623669" y="1480025"/>
            <a:ext cx="6851637" cy="13374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 lang="ru-RU" sz="1400" dirty="0" smtClean="0"/>
          </a:p>
          <a:p>
            <a:endParaRPr lang="ru-RU" sz="1400" dirty="0" smtClean="0"/>
          </a:p>
          <a:p>
            <a:r>
              <a:rPr lang="ru-RU" sz="1400" dirty="0" smtClean="0"/>
              <a:t>  </a:t>
            </a:r>
            <a:endParaRPr lang="ru-RU" sz="1400" dirty="0"/>
          </a:p>
        </p:txBody>
      </p:sp>
      <p:cxnSp>
        <p:nvCxnSpPr>
          <p:cNvPr id="19" name="Прямая со стрелкой 18"/>
          <p:cNvCxnSpPr/>
          <p:nvPr/>
        </p:nvCxnSpPr>
        <p:spPr>
          <a:xfrm>
            <a:off x="3283642" y="3098592"/>
            <a:ext cx="0" cy="841621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7449608" y="4273535"/>
            <a:ext cx="1362892" cy="33963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uk-UA" sz="1400" dirty="0" smtClean="0">
                <a:latin typeface="Vodafone Rg" pitchFamily="34" charset="0"/>
              </a:rPr>
              <a:t>1 </a:t>
            </a:r>
            <a:r>
              <a:rPr lang="uk-UA" sz="1400" dirty="0" smtClean="0">
                <a:latin typeface="Vodafone Rg" pitchFamily="34" charset="0"/>
              </a:rPr>
              <a:t>серпня</a:t>
            </a:r>
            <a:endParaRPr lang="uk-UA" sz="1400" dirty="0" smtClean="0">
              <a:latin typeface="Vodafone Rg" pitchFamily="34" charset="0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7982185" y="3973378"/>
            <a:ext cx="0" cy="27867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4365295" y="4713136"/>
            <a:ext cx="413410" cy="238889"/>
          </a:xfrm>
        </p:spPr>
        <p:txBody>
          <a:bodyPr/>
          <a:lstStyle/>
          <a:p>
            <a:fld id="{72A83A2B-3358-44F8-83A0-4598795D8FB5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33" name="Picture 27" descr="http://mymasterpieceliving.com/content/uploads/2015/01/iconmonstr-target-3-icon-256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623" y="54564"/>
            <a:ext cx="416861" cy="416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773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2439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4" name="Слайд think-cell" r:id="rId4" imgW="360" imgH="359" progId="TCLayout.ActiveDocument.1">
                  <p:embed/>
                </p:oleObj>
              </mc:Choice>
              <mc:Fallback>
                <p:oleObj name="Слайд think-cell" r:id="rId4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uk-UA" dirty="0" smtClean="0"/>
              <a:t>Бізнес-розуміння</a:t>
            </a:r>
            <a:endParaRPr lang="uk-UA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22 January 2022</a:t>
            </a:fld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3"/>
          </p:nvPr>
        </p:nvSpPr>
        <p:spPr>
          <a:xfrm>
            <a:off x="1934313" y="1019802"/>
            <a:ext cx="6869445" cy="1210524"/>
          </a:xfrm>
        </p:spPr>
        <p:txBody>
          <a:bodyPr/>
          <a:lstStyle/>
          <a:p>
            <a:pPr marL="0" indent="0">
              <a:buNone/>
            </a:pPr>
            <a:r>
              <a:rPr lang="uk-UA" sz="1600" b="1" dirty="0" smtClean="0"/>
              <a:t>Мережа зв</a:t>
            </a:r>
            <a:r>
              <a:rPr lang="en-US" sz="1600" b="1" dirty="0" smtClean="0"/>
              <a:t>’</a:t>
            </a:r>
            <a:r>
              <a:rPr lang="uk-UA" sz="1600" b="1" dirty="0" err="1" smtClean="0"/>
              <a:t>язку</a:t>
            </a:r>
            <a:endParaRPr lang="uk-UA" sz="1600" b="1" dirty="0" smtClean="0"/>
          </a:p>
          <a:p>
            <a:r>
              <a:rPr lang="uk-UA" sz="1600" dirty="0" smtClean="0"/>
              <a:t>Виявлення точок росту: місця, в яких потрібні базові станції для майбутнього попиту</a:t>
            </a:r>
            <a:endParaRPr lang="uk-UA" sz="1600" dirty="0"/>
          </a:p>
          <a:p>
            <a:r>
              <a:rPr lang="uk-UA" sz="1600" dirty="0"/>
              <a:t>Побудова високоякісної інфраструктури мобільного зв'язку  </a:t>
            </a:r>
          </a:p>
          <a:p>
            <a:r>
              <a:rPr lang="uk-UA" sz="1600" dirty="0" smtClean="0"/>
              <a:t>Приймати </a:t>
            </a:r>
            <a:r>
              <a:rPr lang="uk-UA" sz="1600" dirty="0"/>
              <a:t>рішення про розподіл інвестицій на покращення якості </a:t>
            </a:r>
            <a:r>
              <a:rPr lang="uk-UA" sz="1600" dirty="0" smtClean="0"/>
              <a:t>мережі</a:t>
            </a:r>
          </a:p>
        </p:txBody>
      </p:sp>
      <p:sp>
        <p:nvSpPr>
          <p:cNvPr id="11" name="Объект 5"/>
          <p:cNvSpPr txBox="1">
            <a:spLocks/>
          </p:cNvSpPr>
          <p:nvPr/>
        </p:nvSpPr>
        <p:spPr>
          <a:xfrm>
            <a:off x="1934313" y="3234600"/>
            <a:ext cx="7135259" cy="12105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38113" indent="-13811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Calibri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Calibri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uk-UA" sz="1600" b="1" dirty="0" smtClean="0"/>
              <a:t>Маркетингові ініціативи</a:t>
            </a:r>
          </a:p>
          <a:p>
            <a:r>
              <a:rPr lang="uk-UA" sz="1600" dirty="0" smtClean="0"/>
              <a:t>Поглиблене розуміння майбутньої поведінки конкретного абонента</a:t>
            </a:r>
          </a:p>
          <a:p>
            <a:r>
              <a:rPr lang="uk-UA" sz="1600" dirty="0" smtClean="0"/>
              <a:t>Кампанії, спрямовані на утримання і розвиток </a:t>
            </a:r>
            <a:r>
              <a:rPr lang="en-US" sz="1600" dirty="0" smtClean="0"/>
              <a:t>data usage </a:t>
            </a:r>
            <a:r>
              <a:rPr lang="uk-UA" sz="1600" dirty="0" smtClean="0"/>
              <a:t>абонентів</a:t>
            </a:r>
          </a:p>
          <a:p>
            <a:r>
              <a:rPr lang="uk-UA" sz="1600" dirty="0" smtClean="0"/>
              <a:t>Аналітика для дослідження можливості проведення монетизації</a:t>
            </a:r>
            <a:endParaRPr lang="uk-UA" sz="1600" dirty="0"/>
          </a:p>
        </p:txBody>
      </p:sp>
      <p:pic>
        <p:nvPicPr>
          <p:cNvPr id="16" name="Picture 1" descr="3_Mobile_Base_Station_V2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10" y="1019802"/>
            <a:ext cx="720000" cy="720000"/>
          </a:xfrm>
          <a:prstGeom prst="rect">
            <a:avLst/>
          </a:prstGeom>
        </p:spPr>
      </p:pic>
      <p:pic>
        <p:nvPicPr>
          <p:cNvPr id="20" name="Picture 39" descr="3_CRM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10" y="323460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3502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0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0" name="Слайд think-cell" r:id="rId4" imgW="360" imgH="359" progId="TCLayout.ActiveDocument.1">
                  <p:embed/>
                </p:oleObj>
              </mc:Choice>
              <mc:Fallback>
                <p:oleObj name="Слайд think-cell" r:id="rId4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uk-UA" dirty="0" smtClean="0"/>
              <a:t>Процес побудови моделі</a:t>
            </a:r>
            <a:endParaRPr lang="uk-UA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22 January 2022</a:t>
            </a:fld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57352" name="Picture 8" descr="An enhanced CRISP-DM process model | Download Scientific Diagra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3" y="873457"/>
            <a:ext cx="3401975" cy="340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365295" y="1230213"/>
            <a:ext cx="4572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uk-UA" b="1" dirty="0"/>
              <a:t>CRISP-DM</a:t>
            </a:r>
            <a:r>
              <a:rPr lang="uk-UA" dirty="0"/>
              <a:t> </a:t>
            </a:r>
            <a:r>
              <a:rPr lang="uk-UA" dirty="0" smtClean="0"/>
              <a:t>- </a:t>
            </a:r>
            <a:r>
              <a:rPr lang="uk-UA" dirty="0"/>
              <a:t>найбільш поширена </a:t>
            </a:r>
            <a:r>
              <a:rPr lang="uk-UA" dirty="0" smtClean="0"/>
              <a:t>методологія </a:t>
            </a:r>
            <a:r>
              <a:rPr lang="uk-UA" dirty="0"/>
              <a:t>дослідження даних</a:t>
            </a:r>
            <a:r>
              <a:rPr lang="uk-UA" dirty="0" smtClean="0"/>
              <a:t>. (представлена в 1999 році)</a:t>
            </a:r>
          </a:p>
          <a:p>
            <a:endParaRPr lang="uk-UA" dirty="0" smtClean="0"/>
          </a:p>
          <a:p>
            <a:r>
              <a:rPr lang="uk-UA" dirty="0" smtClean="0"/>
              <a:t>Модель </a:t>
            </a:r>
            <a:r>
              <a:rPr lang="uk-UA" dirty="0"/>
              <a:t>життєвого циклу дослідження даних у методології складається із шести фаз, а стрілки позначають найбільш важливі та часті залежності між фазами.</a:t>
            </a:r>
          </a:p>
        </p:txBody>
      </p:sp>
    </p:spTree>
    <p:extLst>
      <p:ext uri="{BB962C8B-B14F-4D97-AF65-F5344CB8AC3E}">
        <p14:creationId xmlns:p14="http://schemas.microsoft.com/office/powerpoint/2010/main" val="19532823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6957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4" name="Слайд think-cell" r:id="rId4" imgW="360" imgH="359" progId="TCLayout.ActiveDocument.1">
                  <p:embed/>
                </p:oleObj>
              </mc:Choice>
              <mc:Fallback>
                <p:oleObj name="Слайд think-cell" r:id="rId4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02543" y="600396"/>
            <a:ext cx="6538913" cy="431093"/>
          </a:xfrm>
        </p:spPr>
        <p:txBody>
          <a:bodyPr vert="horz"/>
          <a:lstStyle/>
          <a:p>
            <a:r>
              <a:rPr lang="uk-UA" sz="3200" dirty="0" smtClean="0"/>
              <a:t>Розуміння даних</a:t>
            </a:r>
            <a:endParaRPr lang="uk-UA" sz="3200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22 January 2022</a:t>
            </a:fld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3"/>
          </p:nvPr>
        </p:nvSpPr>
        <p:spPr>
          <a:xfrm>
            <a:off x="1097661" y="1553941"/>
            <a:ext cx="7362087" cy="2114292"/>
          </a:xfrm>
        </p:spPr>
        <p:txBody>
          <a:bodyPr/>
          <a:lstStyle/>
          <a:p>
            <a:r>
              <a:rPr lang="uk-UA" b="1" dirty="0" smtClean="0"/>
              <a:t>Історичні дані для 250 тис. абонентів </a:t>
            </a:r>
            <a:r>
              <a:rPr lang="uk-UA" dirty="0" smtClean="0"/>
              <a:t>із заздалегідь відомою цільовою характеристикою – використання трафіку через 6 місяців</a:t>
            </a:r>
          </a:p>
          <a:p>
            <a:r>
              <a:rPr lang="uk-UA" dirty="0" smtClean="0"/>
              <a:t>Глибина характеристик – півроку</a:t>
            </a:r>
          </a:p>
          <a:p>
            <a:r>
              <a:rPr lang="uk-UA" dirty="0" smtClean="0"/>
              <a:t>Понад </a:t>
            </a:r>
            <a:r>
              <a:rPr lang="uk-UA" b="1" dirty="0" smtClean="0"/>
              <a:t>900 стандартних характеристик</a:t>
            </a:r>
            <a:r>
              <a:rPr lang="uk-UA" dirty="0" smtClean="0"/>
              <a:t>: тарифний план, баланс, дані про </a:t>
            </a:r>
            <a:r>
              <a:rPr lang="uk-UA" dirty="0" err="1" smtClean="0"/>
              <a:t>девайс</a:t>
            </a:r>
            <a:r>
              <a:rPr lang="uk-UA" dirty="0" smtClean="0"/>
              <a:t>, активність та ін.</a:t>
            </a:r>
          </a:p>
          <a:p>
            <a:r>
              <a:rPr lang="uk-UA" b="1" dirty="0" smtClean="0"/>
              <a:t>Історія помісячного використання трафіку </a:t>
            </a:r>
            <a:r>
              <a:rPr lang="uk-UA" dirty="0" smtClean="0"/>
              <a:t>за півроку до дати </a:t>
            </a:r>
            <a:r>
              <a:rPr lang="uk-UA" dirty="0" err="1" smtClean="0"/>
              <a:t>скорингу</a:t>
            </a:r>
            <a:endParaRPr lang="uk-UA" dirty="0"/>
          </a:p>
        </p:txBody>
      </p:sp>
      <p:pic>
        <p:nvPicPr>
          <p:cNvPr id="20" name="Picture 24" descr="\\kv-ors-fs1.mobvdi.mts.com.ua\kv-ors-fs1\UserFolders\arodionova\Desktop\Инфографика\VF icons\New folder\Серые\16 - Copy (11)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391" y="505170"/>
            <a:ext cx="457270" cy="62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928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857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8" name="Слайд think-cell" r:id="rId4" imgW="360" imgH="359" progId="TCLayout.ActiveDocument.1">
                  <p:embed/>
                </p:oleObj>
              </mc:Choice>
              <mc:Fallback>
                <p:oleObj name="Слайд think-cell" r:id="rId4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453" y="263519"/>
            <a:ext cx="6538913" cy="385067"/>
          </a:xfrm>
        </p:spPr>
        <p:txBody>
          <a:bodyPr vert="horz"/>
          <a:lstStyle/>
          <a:p>
            <a:r>
              <a:rPr lang="uk-UA" dirty="0" smtClean="0"/>
              <a:t>Підготовка даних</a:t>
            </a:r>
            <a:endParaRPr lang="uk-UA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22 January 2022</a:t>
            </a:fld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3"/>
          </p:nvPr>
        </p:nvSpPr>
        <p:spPr>
          <a:xfrm>
            <a:off x="1122695" y="990613"/>
            <a:ext cx="7553472" cy="3603293"/>
          </a:xfrm>
        </p:spPr>
        <p:txBody>
          <a:bodyPr/>
          <a:lstStyle/>
          <a:p>
            <a:pPr marL="0" indent="0">
              <a:buNone/>
            </a:pPr>
            <a:r>
              <a:rPr lang="uk-UA" b="1" dirty="0" smtClean="0"/>
              <a:t>Гігієнічні критерії </a:t>
            </a:r>
          </a:p>
          <a:p>
            <a:r>
              <a:rPr lang="uk-UA" dirty="0" smtClean="0"/>
              <a:t>По спостереженнях: видалення дублікатів, абонентів з відсутніми даними</a:t>
            </a:r>
          </a:p>
          <a:p>
            <a:r>
              <a:rPr lang="uk-UA" dirty="0" smtClean="0"/>
              <a:t>По характеристиках: видалення характеристик, як не несуть цільової інформації та зі сталим значенням</a:t>
            </a:r>
          </a:p>
          <a:p>
            <a:pPr marL="0" indent="0">
              <a:buNone/>
            </a:pPr>
            <a:endParaRPr lang="uk-UA" dirty="0"/>
          </a:p>
          <a:p>
            <a:pPr marL="0" indent="0">
              <a:buNone/>
            </a:pPr>
            <a:r>
              <a:rPr lang="uk-UA" b="1" dirty="0"/>
              <a:t>Г</a:t>
            </a:r>
            <a:r>
              <a:rPr lang="uk-UA" b="1" dirty="0" smtClean="0"/>
              <a:t>енерація характеристик по трафіку</a:t>
            </a:r>
          </a:p>
          <a:p>
            <a:r>
              <a:rPr lang="uk-UA" dirty="0" smtClean="0"/>
              <a:t>Помісячна динаміка використання інтернету</a:t>
            </a:r>
          </a:p>
          <a:p>
            <a:r>
              <a:rPr lang="uk-UA" dirty="0" smtClean="0"/>
              <a:t>Статистичні показники: використаний максимум за пів року, мінімум, стандартне </a:t>
            </a:r>
            <a:r>
              <a:rPr lang="uk-UA" dirty="0" err="1" smtClean="0"/>
              <a:t>відхилленя</a:t>
            </a:r>
            <a:endParaRPr lang="uk-UA" dirty="0" smtClean="0"/>
          </a:p>
          <a:p>
            <a:r>
              <a:rPr lang="uk-UA" dirty="0" smtClean="0"/>
              <a:t>Глобальна зміна трафіку півроку тому – зараз </a:t>
            </a:r>
            <a:endParaRPr lang="uk-UA" dirty="0"/>
          </a:p>
        </p:txBody>
      </p:sp>
      <p:pic>
        <p:nvPicPr>
          <p:cNvPr id="56328" name="Picture 8" descr="Filter free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47" y="1426548"/>
            <a:ext cx="493806" cy="493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30" name="Picture 10" descr="Cogwheels free ico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941" y="3256311"/>
            <a:ext cx="777786" cy="777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1308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402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4" name="Слайд think-cell" r:id="rId4" imgW="360" imgH="359" progId="TCLayout.ActiveDocument.1">
                  <p:embed/>
                </p:oleObj>
              </mc:Choice>
              <mc:Fallback>
                <p:oleObj name="Слайд think-cell" r:id="rId4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02543" y="401694"/>
            <a:ext cx="6538913" cy="667479"/>
          </a:xfrm>
        </p:spPr>
        <p:txBody>
          <a:bodyPr vert="horz"/>
          <a:lstStyle/>
          <a:p>
            <a:r>
              <a:rPr lang="uk-UA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Архітектура моделі</a:t>
            </a:r>
            <a:endParaRPr lang="uk-UA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22 January 2022</a:t>
            </a:fld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55007" y="966555"/>
            <a:ext cx="5020576" cy="3384121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250825" y="4248058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 smtClean="0"/>
              <a:t>Cross-validation - </a:t>
            </a:r>
            <a:r>
              <a:rPr lang="uk-UA" sz="1100" dirty="0" smtClean="0"/>
              <a:t>методика </a:t>
            </a:r>
            <a:r>
              <a:rPr lang="uk-UA" sz="1100" dirty="0"/>
              <a:t>перевірки моделі для оцінки того, як результати </a:t>
            </a:r>
            <a:r>
              <a:rPr lang="uk-UA" sz="1100" dirty="0" smtClean="0"/>
              <a:t>статистичного </a:t>
            </a:r>
            <a:r>
              <a:rPr lang="uk-UA" sz="1100" dirty="0"/>
              <a:t>аналіз буде узагальнено до незалежного набору даних</a:t>
            </a:r>
          </a:p>
        </p:txBody>
      </p:sp>
      <p:pic>
        <p:nvPicPr>
          <p:cNvPr id="63496" name="Picture 8" descr="Design free ico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656" y="240169"/>
            <a:ext cx="599335" cy="599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918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659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5" name="Слайд think-cell" r:id="rId4" imgW="360" imgH="359" progId="TCLayout.ActiveDocument.1">
                  <p:embed/>
                </p:oleObj>
              </mc:Choice>
              <mc:Fallback>
                <p:oleObj name="Слайд think-cell" r:id="rId4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02543" y="332351"/>
            <a:ext cx="6538913" cy="390664"/>
          </a:xfrm>
        </p:spPr>
        <p:txBody>
          <a:bodyPr vert="horz"/>
          <a:lstStyle/>
          <a:p>
            <a:r>
              <a:rPr lang="en-US" dirty="0" err="1" smtClean="0"/>
              <a:t>LightGBM</a:t>
            </a:r>
            <a:r>
              <a:rPr lang="uk-UA" dirty="0" smtClean="0"/>
              <a:t> – обраний </a:t>
            </a:r>
            <a:r>
              <a:rPr lang="uk-UA" dirty="0" err="1" smtClean="0"/>
              <a:t>аглоритм</a:t>
            </a:r>
            <a:r>
              <a:rPr lang="uk-UA" dirty="0" smtClean="0"/>
              <a:t> для регресійного моделювання </a:t>
            </a:r>
            <a:endParaRPr lang="uk-UA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22 January 2022</a:t>
            </a:fld>
            <a:endParaRPr lang="en-GB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Insert Confidentiality Level in slide footer </a:t>
            </a:r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7" name="Объект 5"/>
          <p:cNvSpPr txBox="1">
            <a:spLocks noGrp="1"/>
          </p:cNvSpPr>
          <p:nvPr>
            <p:ph sz="quarter" idx="13"/>
          </p:nvPr>
        </p:nvSpPr>
        <p:spPr>
          <a:xfrm>
            <a:off x="250825" y="1552354"/>
            <a:ext cx="8642350" cy="16267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38113" indent="-13811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Calibri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Calibri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dirty="0" smtClean="0"/>
              <a:t>Алгоритм, реалізований на деревах рішень, посилених за допомогою </a:t>
            </a:r>
            <a:r>
              <a:rPr lang="uk-UA" dirty="0" err="1" smtClean="0"/>
              <a:t>бустингу</a:t>
            </a:r>
            <a:r>
              <a:rPr lang="uk-UA" dirty="0" smtClean="0"/>
              <a:t>, </a:t>
            </a:r>
            <a:r>
              <a:rPr lang="uk-UA" dirty="0"/>
              <a:t>який допомагає </a:t>
            </a:r>
            <a:r>
              <a:rPr lang="uk-UA" dirty="0" smtClean="0"/>
              <a:t>деревам виправляти помилки самостійно:</a:t>
            </a:r>
          </a:p>
          <a:p>
            <a:r>
              <a:rPr lang="uk-UA" dirty="0" smtClean="0"/>
              <a:t>Краща точність, ніж в будь-якого </a:t>
            </a:r>
            <a:r>
              <a:rPr lang="uk-UA" dirty="0" err="1" smtClean="0"/>
              <a:t>бустингового</a:t>
            </a:r>
            <a:r>
              <a:rPr lang="uk-UA" dirty="0" smtClean="0"/>
              <a:t> алгоритму</a:t>
            </a:r>
          </a:p>
          <a:p>
            <a:r>
              <a:rPr lang="uk-UA" dirty="0" smtClean="0"/>
              <a:t>Винайдений в 2016 командою </a:t>
            </a:r>
            <a:r>
              <a:rPr lang="en-US" dirty="0" smtClean="0"/>
              <a:t>Microsoft Research</a:t>
            </a:r>
            <a:endParaRPr lang="uk-UA" dirty="0" smtClean="0"/>
          </a:p>
          <a:p>
            <a:r>
              <a:rPr lang="uk-UA" dirty="0" smtClean="0"/>
              <a:t>Переможець більшості </a:t>
            </a:r>
            <a:r>
              <a:rPr lang="en-US" dirty="0" err="1" smtClean="0"/>
              <a:t>kaggle</a:t>
            </a:r>
            <a:r>
              <a:rPr lang="en-US" dirty="0" smtClean="0"/>
              <a:t> </a:t>
            </a:r>
            <a:r>
              <a:rPr lang="ru-RU" dirty="0" err="1" smtClean="0"/>
              <a:t>змагань</a:t>
            </a:r>
            <a:r>
              <a:rPr lang="en-US" dirty="0" smtClean="0"/>
              <a:t>: </a:t>
            </a:r>
            <a:r>
              <a:rPr lang="uk-UA" dirty="0" smtClean="0"/>
              <a:t>від </a:t>
            </a:r>
            <a:r>
              <a:rPr lang="en-US" dirty="0" smtClean="0"/>
              <a:t>Google, Netflix, etc.</a:t>
            </a:r>
            <a:endParaRPr lang="uk-UA" dirty="0" smtClean="0"/>
          </a:p>
        </p:txBody>
      </p:sp>
      <p:pic>
        <p:nvPicPr>
          <p:cNvPr id="17" name="Picture 16" descr="\\kv-ors-fs1.mobvdi.mts.com.ua\kv-ors-fs1\UserFolders\arodionova\Desktop\Инфографика\VF icons\New folder\Серые\16 - Copy (3)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714" y="3176"/>
            <a:ext cx="740498" cy="827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47037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34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8" name="Слайд think-cell" r:id="rId4" imgW="360" imgH="359" progId="TCLayout.ActiveDocument.1">
                  <p:embed/>
                </p:oleObj>
              </mc:Choice>
              <mc:Fallback>
                <p:oleObj name="Слайд think-cell" r:id="rId4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02543" y="362714"/>
            <a:ext cx="6538913" cy="349667"/>
          </a:xfrm>
        </p:spPr>
        <p:txBody>
          <a:bodyPr vert="horz"/>
          <a:lstStyle/>
          <a:p>
            <a:r>
              <a:rPr lang="uk-UA" dirty="0" smtClean="0"/>
              <a:t>Методика оцінки моделі</a:t>
            </a:r>
            <a:endParaRPr lang="uk-UA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22 January 2022</a:t>
            </a:fld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62474" name="Picture 10" descr="RMSE: What does it mean?. Contributed by: Shweta Gupta | by Great Learning  | Medium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32" y="1244009"/>
            <a:ext cx="4634569" cy="30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80" name="Picture 16" descr="https://media.geeksforgeeks.org/wp-content/uploads/20200622171741/RMSE1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0347" y="1984508"/>
            <a:ext cx="3705225" cy="12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85" name="Picture 21" descr="Evaluation free ico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67" y="206314"/>
            <a:ext cx="662466" cy="662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4571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l90iTyD0doWDv6XC4O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Pbh.QfRGhm0J4Q3nsf7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6PXy7OKnhb2dCIVyv7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ZOu40gcb3oRsSGQzN5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lN0j8.aiYw9i8ov6gZ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wdu8UQ2VZ_wILEZOJ6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CzIh3NbaD2q13ESGwp3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Ffl8bbdZoKMLj7.g_q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QV50_Xo8NRFpOIzDIh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1G5Egta.4EsIgT1oyw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IKRBd6fxzJMExS3Jp7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o3pyMwVQBo1zhMv.a6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mHaE0d09nZS4dZrYI8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RGg6vzEr2h5QDvVhFO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Tc41_3ymTnVv9_HLllv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rmESb0IEdxLUZhHRd7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LFwYBtz93SWcUhksX6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cYdcthLrMNxGzJyxmS1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DAcibFO_j6wBZ1JliW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zXi9DuEuIYe7cKYmzfX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L6M6h0h044mauBvfZd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0DDRk265LGkWsn6wIbo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JGUPGw1MHt.5BGS5R0l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1uFT4DDC2ta7xCPbpM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GHwb6n6R3qR6H7Yv4Cb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frnAFUlzTpQQmu.Fcl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dafone">
  <a:themeElements>
    <a:clrScheme name="Vodafone 2021">
      <a:dk1>
        <a:srgbClr val="000000"/>
      </a:dk1>
      <a:lt1>
        <a:srgbClr val="FFFFFF"/>
      </a:lt1>
      <a:dk2>
        <a:srgbClr val="5E2750"/>
      </a:dk2>
      <a:lt2>
        <a:srgbClr val="545759"/>
      </a:lt2>
      <a:accent1>
        <a:srgbClr val="E60000"/>
      </a:accent1>
      <a:accent2>
        <a:srgbClr val="A8B400"/>
      </a:accent2>
      <a:accent3>
        <a:srgbClr val="9C2AA0"/>
      </a:accent3>
      <a:accent4>
        <a:srgbClr val="EB9700"/>
      </a:accent4>
      <a:accent5>
        <a:srgbClr val="00B0CA"/>
      </a:accent5>
      <a:accent6>
        <a:srgbClr val="FECB00"/>
      </a:accent6>
      <a:hlink>
        <a:srgbClr val="E60000"/>
      </a:hlink>
      <a:folHlink>
        <a:srgbClr val="E60000"/>
      </a:folHlink>
    </a:clrScheme>
    <a:fontScheme name="Vodafone">
      <a:majorFont>
        <a:latin typeface="Vodafone Rg"/>
        <a:ea typeface=""/>
        <a:cs typeface=""/>
      </a:majorFont>
      <a:minorFont>
        <a:latin typeface="Vodafone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 cap="flat" cmpd="sng" algn="ctr">
          <a:noFill/>
          <a:prstDash val="solid"/>
        </a:ln>
        <a:effectLst/>
      </a:spPr>
      <a:bodyPr spcFirstLastPara="0" vert="horz" wrap="square" lIns="6350" tIns="6350" rIns="6350" bIns="6350" numCol="1" spcCol="1270" rtlCol="0" anchor="ctr" anchorCtr="0">
        <a:noAutofit/>
      </a:bodyPr>
      <a:lstStyle>
        <a:defPPr algn="ctr" defTabSz="444500">
          <a:lnSpc>
            <a:spcPct val="90000"/>
          </a:lnSpc>
          <a:spcBef>
            <a:spcPct val="0"/>
          </a:spcBef>
          <a:spcAft>
            <a:spcPct val="35000"/>
          </a:spcAft>
          <a:defRPr sz="1000" kern="1200" dirty="0" smtClean="0">
            <a:solidFill>
              <a:srgbClr val="34342B"/>
            </a:solidFill>
            <a:latin typeface="Vodafone Rg" pitchFamily="34" charset="0"/>
            <a:ea typeface="+mn-ea"/>
            <a:cs typeface="+mn-cs"/>
          </a:defRPr>
        </a:defPPr>
      </a:lstStyle>
      <a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0" indent="0">
          <a:buFont typeface="Arial" pitchFamily="34" charset="0"/>
          <a:buNone/>
          <a:defRPr dirty="0" smtClean="0">
            <a:latin typeface="Vodafone Rg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F_PowerPoint_Template_2021_V3" id="{CFF74C64-33A9-C447-AA5B-7B07E579280B}" vid="{8D1D8AAB-DAE6-A34F-9826-DC1F988FC19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F_PowerPoint_Template_2021_V3</Template>
  <TotalTime>1240</TotalTime>
  <Words>463</Words>
  <Application>Microsoft Office PowerPoint</Application>
  <PresentationFormat>Экран (16:9)</PresentationFormat>
  <Paragraphs>92</Paragraphs>
  <Slides>1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9" baseType="lpstr">
      <vt:lpstr>Arial</vt:lpstr>
      <vt:lpstr>Calibri</vt:lpstr>
      <vt:lpstr>Vodafone Lt</vt:lpstr>
      <vt:lpstr>Vodafone Rg</vt:lpstr>
      <vt:lpstr>Vodafone</vt:lpstr>
      <vt:lpstr>Слайд think-cell</vt:lpstr>
      <vt:lpstr>Прогноз data-трафіку абонента</vt:lpstr>
      <vt:lpstr>Ціль моделі</vt:lpstr>
      <vt:lpstr>Бізнес-розуміння</vt:lpstr>
      <vt:lpstr>Процес побудови моделі</vt:lpstr>
      <vt:lpstr>Розуміння даних</vt:lpstr>
      <vt:lpstr>Підготовка даних</vt:lpstr>
      <vt:lpstr>Архітектура моделі</vt:lpstr>
      <vt:lpstr>LightGBM – обраний аглоритм для регресійного моделювання </vt:lpstr>
      <vt:lpstr>Методика оцінки моделі</vt:lpstr>
      <vt:lpstr>Оцінка моделі</vt:lpstr>
      <vt:lpstr>Найважливіші показники абонента, що впливають на майбутнє використання трафіку</vt:lpstr>
      <vt:lpstr>Введення моделі в продуктив</vt:lpstr>
      <vt:lpstr>Thank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over two lines</dc:title>
  <dc:subject/>
  <dc:creator>Klymenko Diana</dc:creator>
  <cp:keywords/>
  <dc:description/>
  <cp:lastModifiedBy>Shvets Sofiia</cp:lastModifiedBy>
  <cp:revision>79</cp:revision>
  <cp:lastPrinted>2011-08-30T12:20:26Z</cp:lastPrinted>
  <dcterms:created xsi:type="dcterms:W3CDTF">2021-04-22T12:21:12Z</dcterms:created>
  <dcterms:modified xsi:type="dcterms:W3CDTF">2022-01-22T02:23:5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